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3" r:id="rId1"/>
  </p:sldMasterIdLst>
  <p:notesMasterIdLst>
    <p:notesMasterId r:id="rId3"/>
  </p:notesMasterIdLst>
  <p:handoutMasterIdLst>
    <p:handoutMasterId r:id="rId4"/>
  </p:handoutMasterIdLst>
  <p:sldIdLst>
    <p:sldId id="276" r:id="rId2"/>
  </p:sldIdLst>
  <p:sldSz cx="32399288" cy="43200638"/>
  <p:notesSz cx="6813550" cy="9945688"/>
  <p:custDataLst>
    <p:tags r:id="rId5"/>
  </p:custDataLst>
  <p:defaultTextStyle>
    <a:defPPr>
      <a:defRPr lang="es-ES_tradnl"/>
    </a:defPPr>
    <a:lvl1pPr algn="l" defTabSz="215999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1pPr>
    <a:lvl2pPr marL="2159996" algn="l" defTabSz="215999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2pPr>
    <a:lvl3pPr marL="4319991" algn="l" defTabSz="215999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3pPr>
    <a:lvl4pPr marL="6479987" algn="l" defTabSz="215999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4pPr>
    <a:lvl5pPr marL="8639983" algn="l" defTabSz="215999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5pPr>
    <a:lvl6pPr marL="10799978" algn="l" defTabSz="4319991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6pPr>
    <a:lvl7pPr marL="12959974" algn="l" defTabSz="4319991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7pPr>
    <a:lvl8pPr marL="15119970" algn="l" defTabSz="4319991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8pPr>
    <a:lvl9pPr marL="17279965" algn="l" defTabSz="4319991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607" userDrawn="1">
          <p15:clr>
            <a:srgbClr val="A4A3A4"/>
          </p15:clr>
        </p15:guide>
        <p15:guide id="2" pos="1020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D0"/>
    <a:srgbClr val="FFFFFF"/>
    <a:srgbClr val="FF99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4386"/>
    <p:restoredTop sz="94719"/>
  </p:normalViewPr>
  <p:slideViewPr>
    <p:cSldViewPr snapToObjects="1" showGuides="1">
      <p:cViewPr>
        <p:scale>
          <a:sx n="45" d="100"/>
          <a:sy n="45" d="100"/>
        </p:scale>
        <p:origin x="3120" y="144"/>
      </p:cViewPr>
      <p:guideLst>
        <p:guide orient="horz" pos="13607"/>
        <p:guide pos="102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27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9213" y="0"/>
            <a:ext cx="29527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E3FAD2-E39B-4863-8FAD-1F256DDE80D4}" type="datetimeFigureOut">
              <a:rPr lang="es-ES" smtClean="0"/>
              <a:pPr/>
              <a:t>1/10/24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47213"/>
            <a:ext cx="29527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9213" y="9447213"/>
            <a:ext cx="29527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E30A2F-842F-4A97-9259-A7A7462FCD41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21193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2538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9435" y="0"/>
            <a:ext cx="2952538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A693A0-79DE-4943-88E8-DB970894E18E}" type="datetimeFigureOut">
              <a:rPr lang="es-ES" smtClean="0"/>
              <a:pPr/>
              <a:t>1/10/24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008188" y="746125"/>
            <a:ext cx="2797175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1355" y="4724202"/>
            <a:ext cx="5450840" cy="4475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52538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9435" y="9446678"/>
            <a:ext cx="2952538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3B0AC2-E164-4A88-B4CF-7A0B6306A3C2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7377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1pPr>
    <a:lvl2pPr marL="2159996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2pPr>
    <a:lvl3pPr marL="4319991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3pPr>
    <a:lvl4pPr marL="6479987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4pPr>
    <a:lvl5pPr marL="8639983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5pPr>
    <a:lvl6pPr marL="10799978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6pPr>
    <a:lvl7pPr marL="12959974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7pPr>
    <a:lvl8pPr marL="15119970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8pPr>
    <a:lvl9pPr marL="17279965" algn="l" defTabSz="4319991" rtl="0" eaLnBrk="1" latinLnBrk="0" hangingPunct="1">
      <a:defRPr sz="56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08188" y="746125"/>
            <a:ext cx="2797175" cy="3729038"/>
          </a:xfrm>
          <a:ln/>
        </p:spPr>
      </p:sp>
      <p:sp>
        <p:nvSpPr>
          <p:cNvPr id="95235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altLang="es-ES"/>
          </a:p>
        </p:txBody>
      </p:sp>
      <p:sp>
        <p:nvSpPr>
          <p:cNvPr id="95236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6823"/>
            <a:fld id="{0D5D1413-9DC5-46F6-A573-FC24A70F70BD}" type="slidenum">
              <a:rPr lang="es-ES_tradnl" altLang="es-ES" smtClean="0"/>
              <a:pPr defTabSz="926823"/>
              <a:t>1</a:t>
            </a:fld>
            <a:endParaRPr lang="es-ES_tradnl" altLang="es-ES" dirty="0"/>
          </a:p>
        </p:txBody>
      </p:sp>
    </p:spTree>
    <p:extLst>
      <p:ext uri="{BB962C8B-B14F-4D97-AF65-F5344CB8AC3E}">
        <p14:creationId xmlns:p14="http://schemas.microsoft.com/office/powerpoint/2010/main" val="3254890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5DA4EFF9-6667-93F5-929B-BD33DCE60C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32399286" cy="4486523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959" name="Line 63"/>
          <p:cNvSpPr>
            <a:spLocks noChangeShapeType="1"/>
          </p:cNvSpPr>
          <p:nvPr/>
        </p:nvSpPr>
        <p:spPr bwMode="auto">
          <a:xfrm>
            <a:off x="0" y="39360581"/>
            <a:ext cx="32399288" cy="0"/>
          </a:xfrm>
          <a:prstGeom prst="line">
            <a:avLst/>
          </a:prstGeom>
          <a:noFill/>
          <a:ln w="12700">
            <a:solidFill>
              <a:srgbClr val="DDDDDD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algn="ctr">
              <a:spcBef>
                <a:spcPct val="200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endParaRPr lang="es-ES" dirty="0"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11338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787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787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787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787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5pPr>
      <a:lvl6pPr marL="2159950" algn="l" rtl="0" fontAlgn="base">
        <a:spcBef>
          <a:spcPct val="0"/>
        </a:spcBef>
        <a:spcAft>
          <a:spcPct val="0"/>
        </a:spcAft>
        <a:defRPr sz="7559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4319900" algn="l" rtl="0" fontAlgn="base">
        <a:spcBef>
          <a:spcPct val="0"/>
        </a:spcBef>
        <a:spcAft>
          <a:spcPct val="0"/>
        </a:spcAft>
        <a:defRPr sz="7559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6479850" algn="l" rtl="0" fontAlgn="base">
        <a:spcBef>
          <a:spcPct val="0"/>
        </a:spcBef>
        <a:spcAft>
          <a:spcPct val="0"/>
        </a:spcAft>
        <a:defRPr sz="7559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8639800" algn="l" rtl="0" fontAlgn="base">
        <a:spcBef>
          <a:spcPct val="0"/>
        </a:spcBef>
        <a:spcAft>
          <a:spcPct val="0"/>
        </a:spcAft>
        <a:defRPr sz="7559" b="1" i="1">
          <a:solidFill>
            <a:schemeClr val="bg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854980" indent="-854980" algn="just" rtl="0" eaLnBrk="0" fontAlgn="base" hangingPunct="0">
        <a:spcBef>
          <a:spcPct val="20000"/>
        </a:spcBef>
        <a:spcAft>
          <a:spcPct val="50000"/>
        </a:spcAft>
        <a:buClr>
          <a:srgbClr val="FF0000"/>
        </a:buClr>
        <a:buSzPct val="150000"/>
        <a:buChar char="•"/>
        <a:defRPr sz="6614">
          <a:solidFill>
            <a:schemeClr val="accent1">
              <a:lumMod val="75000"/>
            </a:schemeClr>
          </a:solidFill>
          <a:latin typeface="Calibri" pitchFamily="34" charset="0"/>
          <a:ea typeface="+mn-ea"/>
          <a:cs typeface="+mn-cs"/>
        </a:defRPr>
      </a:lvl1pPr>
      <a:lvl2pPr marL="1694961" indent="-847483" algn="just" rtl="0" eaLnBrk="0" fontAlgn="base" hangingPunct="0">
        <a:spcBef>
          <a:spcPct val="0"/>
        </a:spcBef>
        <a:spcAft>
          <a:spcPct val="20000"/>
        </a:spcAft>
        <a:buClr>
          <a:srgbClr val="FF0000"/>
        </a:buClr>
        <a:buFont typeface="Wingdings" pitchFamily="2" charset="2"/>
        <a:buChar char="§"/>
        <a:defRPr sz="6614">
          <a:solidFill>
            <a:schemeClr val="accent1">
              <a:lumMod val="75000"/>
            </a:schemeClr>
          </a:solidFill>
          <a:latin typeface="Calibri" pitchFamily="34" charset="0"/>
        </a:defRPr>
      </a:lvl2pPr>
      <a:lvl3pPr marL="3359922" indent="-817483" algn="just" rtl="0" eaLnBrk="0" fontAlgn="base" hangingPunct="0">
        <a:spcBef>
          <a:spcPct val="0"/>
        </a:spcBef>
        <a:spcAft>
          <a:spcPct val="20000"/>
        </a:spcAft>
        <a:buClr>
          <a:srgbClr val="2E7DA6"/>
        </a:buClr>
        <a:buFont typeface="Wingdings" pitchFamily="2" charset="2"/>
        <a:buChar char="§"/>
        <a:defRPr sz="6614">
          <a:solidFill>
            <a:schemeClr val="accent1">
              <a:lumMod val="75000"/>
            </a:schemeClr>
          </a:solidFill>
          <a:latin typeface="Calibri" pitchFamily="34" charset="0"/>
        </a:defRPr>
      </a:lvl3pPr>
      <a:lvl4pPr marL="5144881" indent="-854980" algn="just" rtl="0" eaLnBrk="0" fontAlgn="base" hangingPunct="0">
        <a:spcBef>
          <a:spcPct val="0"/>
        </a:spcBef>
        <a:spcAft>
          <a:spcPct val="20000"/>
        </a:spcAft>
        <a:buClr>
          <a:srgbClr val="2E7DA6"/>
        </a:buClr>
        <a:buSzPct val="110000"/>
        <a:buChar char="•"/>
        <a:defRPr sz="6614">
          <a:solidFill>
            <a:schemeClr val="accent1">
              <a:lumMod val="75000"/>
            </a:schemeClr>
          </a:solidFill>
          <a:latin typeface="Calibri" pitchFamily="34" charset="0"/>
        </a:defRPr>
      </a:lvl4pPr>
      <a:lvl5pPr marL="6952341" indent="-982480" algn="just" rtl="0" eaLnBrk="0" fontAlgn="base" hangingPunct="0">
        <a:spcBef>
          <a:spcPct val="0"/>
        </a:spcBef>
        <a:spcAft>
          <a:spcPct val="20000"/>
        </a:spcAft>
        <a:buClr>
          <a:srgbClr val="2E7DA6"/>
        </a:buClr>
        <a:buFont typeface="Arial" charset="0"/>
        <a:buChar char="–"/>
        <a:defRPr sz="6614">
          <a:solidFill>
            <a:schemeClr val="accent1">
              <a:lumMod val="75000"/>
            </a:schemeClr>
          </a:solidFill>
          <a:latin typeface="Calibri" pitchFamily="34" charset="0"/>
        </a:defRPr>
      </a:lvl5pPr>
      <a:lvl6pPr marL="9112291" indent="-982480" algn="just" rtl="0" fontAlgn="base">
        <a:spcBef>
          <a:spcPct val="0"/>
        </a:spcBef>
        <a:spcAft>
          <a:spcPct val="20000"/>
        </a:spcAft>
        <a:buClr>
          <a:srgbClr val="2E7DA6"/>
        </a:buClr>
        <a:buFont typeface="Arial" pitchFamily="34" charset="0"/>
        <a:buChar char="–"/>
        <a:defRPr sz="7559">
          <a:solidFill>
            <a:srgbClr val="000000"/>
          </a:solidFill>
          <a:latin typeface="+mn-lt"/>
        </a:defRPr>
      </a:lvl6pPr>
      <a:lvl7pPr marL="11272241" indent="-982480" algn="just" rtl="0" fontAlgn="base">
        <a:spcBef>
          <a:spcPct val="0"/>
        </a:spcBef>
        <a:spcAft>
          <a:spcPct val="20000"/>
        </a:spcAft>
        <a:buClr>
          <a:srgbClr val="2E7DA6"/>
        </a:buClr>
        <a:buFont typeface="Arial" pitchFamily="34" charset="0"/>
        <a:buChar char="–"/>
        <a:defRPr sz="7559">
          <a:solidFill>
            <a:srgbClr val="000000"/>
          </a:solidFill>
          <a:latin typeface="+mn-lt"/>
        </a:defRPr>
      </a:lvl7pPr>
      <a:lvl8pPr marL="13432191" indent="-982480" algn="just" rtl="0" fontAlgn="base">
        <a:spcBef>
          <a:spcPct val="0"/>
        </a:spcBef>
        <a:spcAft>
          <a:spcPct val="20000"/>
        </a:spcAft>
        <a:buClr>
          <a:srgbClr val="2E7DA6"/>
        </a:buClr>
        <a:buFont typeface="Arial" pitchFamily="34" charset="0"/>
        <a:buChar char="–"/>
        <a:defRPr sz="7559">
          <a:solidFill>
            <a:srgbClr val="000000"/>
          </a:solidFill>
          <a:latin typeface="+mn-lt"/>
        </a:defRPr>
      </a:lvl8pPr>
      <a:lvl9pPr marL="15592141" indent="-982480" algn="just" rtl="0" fontAlgn="base">
        <a:spcBef>
          <a:spcPct val="0"/>
        </a:spcBef>
        <a:spcAft>
          <a:spcPct val="20000"/>
        </a:spcAft>
        <a:buClr>
          <a:srgbClr val="2E7DA6"/>
        </a:buClr>
        <a:buFont typeface="Arial" pitchFamily="34" charset="0"/>
        <a:buChar char="–"/>
        <a:defRPr sz="7559">
          <a:solidFill>
            <a:srgbClr val="000000"/>
          </a:solidFill>
          <a:latin typeface="+mn-lt"/>
        </a:defRPr>
      </a:lvl9pPr>
    </p:bodyStyle>
    <p:otherStyle>
      <a:defPPr>
        <a:defRPr lang="es-ES"/>
      </a:defPPr>
      <a:lvl1pPr marL="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1pPr>
      <a:lvl2pPr marL="215995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2pPr>
      <a:lvl3pPr marL="431990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3pPr>
      <a:lvl4pPr marL="647985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4pPr>
      <a:lvl5pPr marL="863980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5pPr>
      <a:lvl6pPr marL="1079975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6pPr>
      <a:lvl7pPr marL="1295970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7pPr>
      <a:lvl8pPr marL="1511965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8pPr>
      <a:lvl9pPr marL="17279600" algn="l" defTabSz="4319900" rtl="0" eaLnBrk="1" latinLnBrk="0" hangingPunct="1">
        <a:defRPr sz="85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9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796"/>
          <a:ext cx="562490" cy="9999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796"/>
                        <a:ext cx="562490" cy="9999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Marcador de texto"/>
          <p:cNvSpPr>
            <a:spLocks noGrp="1"/>
          </p:cNvSpPr>
          <p:nvPr>
            <p:ph type="body" sz="quarter" idx="4294967295"/>
          </p:nvPr>
        </p:nvSpPr>
        <p:spPr>
          <a:xfrm>
            <a:off x="1991205" y="8640132"/>
            <a:ext cx="27539395" cy="9840145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pic>
        <p:nvPicPr>
          <p:cNvPr id="14" name="Imagen 13" descr="Diagrama&#10;&#10;Descripción generada automáticamente">
            <a:extLst>
              <a:ext uri="{FF2B5EF4-FFF2-40B4-BE49-F238E27FC236}">
                <a16:creationId xmlns:a16="http://schemas.microsoft.com/office/drawing/2014/main" id="{0B721B10-5CC2-02AF-78E8-4FF69A33C4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32430853" cy="4479780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PyC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4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wrap="square" rtlCol="0" anchor="ctr">
        <a:noAutofit/>
      </a:bodyPr>
      <a:lstStyle>
        <a:defPPr algn="ctr">
          <a:defRPr sz="1600" dirty="0" smtClean="0">
            <a:ea typeface="ＭＳ Ｐゴシック"/>
          </a:defRPr>
        </a:defPPr>
      </a:lstStyle>
      <a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Tx/>
          <a:buFont typeface="Arial" pitchFamily="34" charset="0"/>
          <a:buChar char="•"/>
          <a:tabLst/>
          <a:defRPr kumimoji="0" lang="es-ES_tradnl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buNone/>
          <a:defRPr sz="1600" dirty="0"/>
        </a:defPPr>
      </a:lstStyle>
    </a:txDef>
  </a:objectDefaults>
  <a:extraClrSchemeLst>
    <a:extraClrScheme>
      <a:clrScheme name="4_Blank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5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636CE"/>
        </a:accent1>
        <a:accent2>
          <a:srgbClr val="FB9123"/>
        </a:accent2>
        <a:accent3>
          <a:srgbClr val="FFFFFF"/>
        </a:accent3>
        <a:accent4>
          <a:srgbClr val="000000"/>
        </a:accent4>
        <a:accent5>
          <a:srgbClr val="AEAEE3"/>
        </a:accent5>
        <a:accent6>
          <a:srgbClr val="E3831F"/>
        </a:accent6>
        <a:hlink>
          <a:srgbClr val="DF9221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6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636CE"/>
        </a:accent1>
        <a:accent2>
          <a:srgbClr val="FB9123"/>
        </a:accent2>
        <a:accent3>
          <a:srgbClr val="FFFFFF"/>
        </a:accent3>
        <a:accent4>
          <a:srgbClr val="000000"/>
        </a:accent4>
        <a:accent5>
          <a:srgbClr val="AEAEE3"/>
        </a:accent5>
        <a:accent6>
          <a:srgbClr val="E3831F"/>
        </a:accent6>
        <a:hlink>
          <a:srgbClr val="DF9221"/>
        </a:hlink>
        <a:folHlink>
          <a:srgbClr val="E8B0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5B8DC2"/>
        </a:accent1>
        <a:accent2>
          <a:srgbClr val="98AFCC"/>
        </a:accent2>
        <a:accent3>
          <a:srgbClr val="FFFFFF"/>
        </a:accent3>
        <a:accent4>
          <a:srgbClr val="000000"/>
        </a:accent4>
        <a:accent5>
          <a:srgbClr val="B5C5DD"/>
        </a:accent5>
        <a:accent6>
          <a:srgbClr val="899EB9"/>
        </a:accent6>
        <a:hlink>
          <a:srgbClr val="DF9221"/>
        </a:hlink>
        <a:folHlink>
          <a:srgbClr val="E8B0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95</TotalTime>
  <Words>1</Words>
  <Application>Microsoft Macintosh PowerPoint</Application>
  <PresentationFormat>Personalizado</PresentationFormat>
  <Paragraphs>1</Paragraphs>
  <Slides>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GAPyC</vt:lpstr>
      <vt:lpstr>think-cell Slid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Congresos</dc:creator>
  <cp:lastModifiedBy>Ismael Buño</cp:lastModifiedBy>
  <cp:revision>1174</cp:revision>
  <dcterms:created xsi:type="dcterms:W3CDTF">2010-06-07T09:47:21Z</dcterms:created>
  <dcterms:modified xsi:type="dcterms:W3CDTF">2024-10-01T08:53:44Z</dcterms:modified>
</cp:coreProperties>
</file>